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</p:sldMasterIdLst>
  <p:sldIdLst>
    <p:sldId id="263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4" d="100"/>
          <a:sy n="104" d="100"/>
        </p:scale>
        <p:origin x="182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8116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 March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869CCB84-CFC3-4C89-90B6-3D52BD4445F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01749343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2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价值和益处</a:t>
                      </a:r>
                      <a:endParaRPr kumimoji="0" 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/>
                          <a:cs typeface="FZZhunYuan-M02S"/>
                        </a:rPr>
                        <a:t>描述</a:t>
                      </a:r>
                      <a:endParaRPr kumimoji="0" lang="zh-CN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noProof="1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减少产品灌装流量偏差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noProof="1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改进瓶颈冲洗工艺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noProof="1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降低瓶颈上的产品残留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目前的解决方案中，通过灌装阀体和柱塞使灌装过程中瓶颈位置不残留产品泡沫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新解决方案采用了更小出料口的灌装阀体来降低液流偏差，进一步改善了原方案</a:t>
                      </a:r>
                    </a:p>
                    <a:p>
                      <a:pPr marL="162000" marR="0" lvl="0" indent="-162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zh-CN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>
                <a:latin typeface="FZZhunYuan-M02S"/>
                <a:cs typeface="FZZhunYuan-M02S"/>
              </a:rPr>
              <a:t>减少产品灌装流量偏差</a:t>
            </a:r>
            <a:endParaRPr lang="zh-C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388272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>
                <a:latin typeface="FZZhunYuan-M02S"/>
                <a:cs typeface="FZZhunYuan-M02S"/>
              </a:rPr>
              <a:t>升级后的灌装阀柱塞，可减少了流量偏差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改善产品品质，优化成本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无菌灌装机（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FMa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）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SP005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" name="Picture 2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4246719"/>
            <a:ext cx="1662403" cy="1373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575" y="4246719"/>
            <a:ext cx="1661256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hteck 11">
            <a:extLst>
              <a:ext uri="{FF2B5EF4-FFF2-40B4-BE49-F238E27FC236}">
                <a16:creationId xmlns:a16="http://schemas.microsoft.com/office/drawing/2014/main" id="{3525D0A0-1A0F-4193-AFE6-F732952969C4}"/>
              </a:ext>
            </a:extLst>
          </p:cNvPr>
          <p:cNvSpPr/>
          <p:nvPr/>
        </p:nvSpPr>
        <p:spPr>
          <a:xfrm>
            <a:off x="4753747" y="1743075"/>
            <a:ext cx="3887015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描述</a:t>
            </a:r>
            <a:endParaRPr kumimoji="0" lang="zh-CN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</p:txBody>
      </p:sp>
    </p:spTree>
    <p:extLst>
      <p:ext uri="{BB962C8B-B14F-4D97-AF65-F5344CB8AC3E}">
        <p14:creationId xmlns:p14="http://schemas.microsoft.com/office/powerpoint/2010/main" val="6525224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del_Template_4x3_v1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30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FZZhunYuan-M02S</vt:lpstr>
      <vt:lpstr>Wingdings</vt:lpstr>
      <vt:lpstr>1_Sidel_Template_4x3_v1</vt:lpstr>
      <vt:lpstr>think-cell Folie</vt:lpstr>
      <vt:lpstr>减少产品灌装流量偏差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减少产品灌装流量偏差</dc:title>
  <dc:creator>Gouriou, Lydie</dc:creator>
  <cp:lastModifiedBy>Sorega, Dan</cp:lastModifiedBy>
  <cp:revision>6</cp:revision>
  <dcterms:created xsi:type="dcterms:W3CDTF">2014-07-21T08:52:21Z</dcterms:created>
  <dcterms:modified xsi:type="dcterms:W3CDTF">2021-03-05T15:19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8-19T12:48:26.3814555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6T11:02:42.835679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6T11:02:42.841679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